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8"/>
  </p:notesMasterIdLst>
  <p:handoutMasterIdLst>
    <p:handoutMasterId r:id="rId9"/>
  </p:handoutMasterIdLst>
  <p:sldIdLst>
    <p:sldId id="260" r:id="rId6"/>
    <p:sldId id="259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A0000"/>
    <a:srgbClr val="020000"/>
    <a:srgbClr val="010000"/>
    <a:srgbClr val="CEFFDF"/>
    <a:srgbClr val="FFFF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66" d="100"/>
          <a:sy n="66" d="100"/>
        </p:scale>
        <p:origin x="768" y="4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FA8A84E9-5EF6-4B50-9CFF-5BC02E399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BF5D13C-C4D7-4A8A-88CC-292A950E4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339CAA76-C029-4B71-8B4F-8476ADD83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meplan for studieprogram, kull og klasse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321F47DF-FA85-47C4-94EB-F87CFB102AC6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isning av timeplaner i Mine studi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Finnes ikke egen timeplan i </a:t>
            </a:r>
            <a:r>
              <a:rPr lang="nb-NO" dirty="0" err="1"/>
              <a:t>vortex</a:t>
            </a:r>
            <a:r>
              <a:rPr lang="nb-NO" dirty="0"/>
              <a:t> for disse timeplanene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TP har timeplaner for disse (utenfor Mine studi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amlet under «emnet» Studieprogram, enten det er for program, kull eller klas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Er ikke ønsket brukt til studiestart ennå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Det jobbes med et større konsept for dette, og det er ikke ønskelig at informasjonen om studiestart skal bli fragmentert (av mine </a:t>
            </a:r>
            <a:r>
              <a:rPr lang="nb-NO"/>
              <a:t>studi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0096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65A3E9B1-D066-4B32-81FC-E7A9E14AA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4942C58-24FB-4D97-B691-7056B8948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0A92F68A-AD3A-41D8-8457-5A769D407D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F5BD75F-C82A-4E89-B3AD-26A92893ED4A}"/>
              </a:ext>
            </a:extLst>
          </p:cNvPr>
          <p:cNvPicPr>
            <a:picLocks noGrp="1" noChangeAspect="1" noChangeArrowheads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3415" y="1082675"/>
            <a:ext cx="7765170" cy="4818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B0B2157D-522A-4BE1-81CC-5C107577798D}"/>
              </a:ext>
            </a:extLst>
          </p:cNvPr>
          <p:cNvSpPr/>
          <p:nvPr/>
        </p:nvSpPr>
        <p:spPr>
          <a:xfrm>
            <a:off x="3888419" y="3429000"/>
            <a:ext cx="1811045" cy="220832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CC4B975-88E2-43D9-962B-350CABBA266E}"/>
              </a:ext>
            </a:extLst>
          </p:cNvPr>
          <p:cNvSpPr/>
          <p:nvPr/>
        </p:nvSpPr>
        <p:spPr>
          <a:xfrm>
            <a:off x="8345010" y="3423921"/>
            <a:ext cx="1535837" cy="39269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AF54B64-5A85-46F7-AE94-E3B35062488A}"/>
              </a:ext>
            </a:extLst>
          </p:cNvPr>
          <p:cNvSpPr/>
          <p:nvPr/>
        </p:nvSpPr>
        <p:spPr>
          <a:xfrm>
            <a:off x="8345010" y="2423604"/>
            <a:ext cx="1535837" cy="432786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C0875E6-0F8D-4FB5-97DF-C783ECB39EA1}"/>
              </a:ext>
            </a:extLst>
          </p:cNvPr>
          <p:cNvSpPr/>
          <p:nvPr/>
        </p:nvSpPr>
        <p:spPr>
          <a:xfrm>
            <a:off x="8345010" y="2998177"/>
            <a:ext cx="1535837" cy="392692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1BE72CF-973C-4957-9B05-32D21C7436B4}"/>
              </a:ext>
            </a:extLst>
          </p:cNvPr>
          <p:cNvSpPr/>
          <p:nvPr/>
        </p:nvSpPr>
        <p:spPr>
          <a:xfrm>
            <a:off x="7749540" y="5311140"/>
            <a:ext cx="1112520" cy="326180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3683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6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1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0.2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78">
                                          <p:stCondLst>
                                            <p:cond delay="182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.0,0.0;0.25,0.07;0.50,0.2;0.75,0.467;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5000">
                                          <p:val>
                                            <p:strVal val="ppt_y+0.026"/>
                                          </p:val>
                                        </p:tav>
                                        <p:tav tm="10000">
                                          <p:val>
                                            <p:strVal val="ppt_y+0.052"/>
                                          </p:val>
                                        </p:tav>
                                        <p:tav tm="15000">
                                          <p:val>
                                            <p:strVal val="ppt_y+0.078"/>
                                          </p:val>
                                        </p:tav>
                                        <p:tav tm="20000">
                                          <p:val>
                                            <p:strVal val="ppt_y+0.103"/>
                                          </p:val>
                                        </p:tav>
                                        <p:tav tm="30000">
                                          <p:val>
                                            <p:strVal val="ppt_y+0.151"/>
                                          </p:val>
                                        </p:tav>
                                        <p:tav tm="40000">
                                          <p:val>
                                            <p:strVal val="ppt_y+0.196"/>
                                          </p:val>
                                        </p:tav>
                                        <p:tav tm="50000">
                                          <p:val>
                                            <p:strVal val="ppt_y+0.236"/>
                                          </p:val>
                                        </p:tav>
                                        <p:tav tm="60000">
                                          <p:val>
                                            <p:strVal val="ppt_y+0.270"/>
                                          </p:val>
                                        </p:tav>
                                        <p:tav tm="70000">
                                          <p:val>
                                            <p:strVal val="ppt_y+0.297"/>
                                          </p:val>
                                        </p:tav>
                                        <p:tav tm="80000">
                                          <p:val>
                                            <p:strVal val="ppt_y+0.317"/>
                                          </p:val>
                                        </p:tav>
                                        <p:tav tm="90000">
                                          <p:val>
                                            <p:strVal val="ppt_y+0.329"/>
                                          </p:val>
                                        </p:tav>
                                        <p:tav tm="100000">
                                          <p:val>
                                            <p:strVal val="ppt_y+0.33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111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37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123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ppt_h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62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64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6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1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822" tmFilter="0,0; 0.14,0.31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0.2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78">
                                          <p:stCondLst>
                                            <p:cond delay="182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664" tmFilter="0.0,0.0;0.25,0.07;0.50,0.2;0.75,0.467;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5000">
                                          <p:val>
                                            <p:strVal val="ppt_y+0.026"/>
                                          </p:val>
                                        </p:tav>
                                        <p:tav tm="10000">
                                          <p:val>
                                            <p:strVal val="ppt_y+0.052"/>
                                          </p:val>
                                        </p:tav>
                                        <p:tav tm="15000">
                                          <p:val>
                                            <p:strVal val="ppt_y+0.078"/>
                                          </p:val>
                                        </p:tav>
                                        <p:tav tm="20000">
                                          <p:val>
                                            <p:strVal val="ppt_y+0.103"/>
                                          </p:val>
                                        </p:tav>
                                        <p:tav tm="30000">
                                          <p:val>
                                            <p:strVal val="ppt_y+0.151"/>
                                          </p:val>
                                        </p:tav>
                                        <p:tav tm="40000">
                                          <p:val>
                                            <p:strVal val="ppt_y+0.196"/>
                                          </p:val>
                                        </p:tav>
                                        <p:tav tm="50000">
                                          <p:val>
                                            <p:strVal val="ppt_y+0.236"/>
                                          </p:val>
                                        </p:tav>
                                        <p:tav tm="60000">
                                          <p:val>
                                            <p:strVal val="ppt_y+0.270"/>
                                          </p:val>
                                        </p:tav>
                                        <p:tav tm="70000">
                                          <p:val>
                                            <p:strVal val="ppt_y+0.297"/>
                                          </p:val>
                                        </p:tav>
                                        <p:tav tm="80000">
                                          <p:val>
                                            <p:strVal val="ppt_y+0.317"/>
                                          </p:val>
                                        </p:tav>
                                        <p:tav tm="90000">
                                          <p:val>
                                            <p:strVal val="ppt_y+0.329"/>
                                          </p:val>
                                        </p:tav>
                                        <p:tav tm="100000">
                                          <p:val>
                                            <p:strVal val="ppt_y+0.33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111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106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9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65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3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37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35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3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22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11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2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3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4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50000">
                                          <p:val>
                                            <p:strVal val="ppt_y-0.0123"/>
                                          </p:val>
                                        </p:tav>
                                        <p:tav tm="60000">
                                          <p:val>
                                            <p:strVal val="ppt_y-0.012"/>
                                          </p:val>
                                        </p:tav>
                                        <p:tav tm="70000">
                                          <p:val>
                                            <p:strVal val="ppt_y-0.010"/>
                                          </p:val>
                                        </p:tav>
                                        <p:tav tm="80000">
                                          <p:val>
                                            <p:strVal val="ppt_y-0.007"/>
                                          </p:val>
                                        </p:tav>
                                        <p:tav tm="90000">
                                          <p:val>
                                            <p:strVal val="ppt_y-0.004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80" accel="50000">
                                          <p:stCondLst>
                                            <p:cond delay="182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ppt_h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62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64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animBg="1"/>
      <p:bldP spid="7" grpId="1" animBg="1"/>
      <p:bldP spid="8" grpId="0" animBg="1"/>
      <p:bldP spid="10" grpId="0" animBg="1"/>
      <p:bldP spid="9" grpId="0" animBg="1"/>
      <p:bldP spid="9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4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7</TotalTime>
  <Words>85</Words>
  <Application>Microsoft Office PowerPoint</Application>
  <PresentationFormat>Widescreen</PresentationFormat>
  <Paragraphs>9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8" baseType="lpstr">
      <vt:lpstr>Arial</vt:lpstr>
      <vt:lpstr>Arial, sans-serif</vt:lpstr>
      <vt:lpstr>Calibri</vt:lpstr>
      <vt:lpstr>Wingdings</vt:lpstr>
      <vt:lpstr>Office-tema</vt:lpstr>
      <vt:lpstr>think-cell Slide</vt:lpstr>
      <vt:lpstr>Timeplan for studieprogram, kull og klasse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eplan for studieprogram, kull og klasse</dc:title>
  <dc:creator>Lars Bergseth-Hasle</dc:creator>
  <cp:lastModifiedBy>Lars Bergseth-Hasle</cp:lastModifiedBy>
  <cp:revision>1</cp:revision>
  <dcterms:created xsi:type="dcterms:W3CDTF">2022-12-05T12:41:35Z</dcterms:created>
  <dcterms:modified xsi:type="dcterms:W3CDTF">2022-12-05T13:2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